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7" r:id="rId5"/>
    <p:sldId id="258" r:id="rId6"/>
    <p:sldId id="259" r:id="rId7"/>
    <p:sldId id="260" r:id="rId8"/>
    <p:sldId id="261" r:id="rId9"/>
    <p:sldId id="262" r:id="rId10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6BD16D5-6EA1-4676-8267-034DA8F64989}">
          <p14:sldIdLst>
            <p14:sldId id="257"/>
            <p14:sldId id="258"/>
            <p14:sldId id="259"/>
            <p14:sldId id="260"/>
            <p14:sldId id="261"/>
            <p14:sldId id="262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DA1572A-6EAB-4886-A2EA-B0180C9979CE}" v="54" dt="2020-04-10T15:11:26.72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94660"/>
  </p:normalViewPr>
  <p:slideViewPr>
    <p:cSldViewPr snapToGrid="0">
      <p:cViewPr varScale="1">
        <p:scale>
          <a:sx n="168" d="100"/>
          <a:sy n="168" d="100"/>
        </p:scale>
        <p:origin x="1782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ulch, Florian" userId="c1609897-2e36-43d0-81d5-e1652fcc83cb" providerId="ADAL" clId="{DD062322-E2F2-4D1F-B18F-87FFBC61427A}"/>
    <pc:docChg chg="undo custSel addSld modSld delSection">
      <pc:chgData name="Pulch, Florian" userId="c1609897-2e36-43d0-81d5-e1652fcc83cb" providerId="ADAL" clId="{DD062322-E2F2-4D1F-B18F-87FFBC61427A}" dt="2020-04-10T15:11:51.692" v="1848" actId="18676"/>
      <pc:docMkLst>
        <pc:docMk/>
      </pc:docMkLst>
      <pc:sldChg chg="modSp">
        <pc:chgData name="Pulch, Florian" userId="c1609897-2e36-43d0-81d5-e1652fcc83cb" providerId="ADAL" clId="{DD062322-E2F2-4D1F-B18F-87FFBC61427A}" dt="2020-04-10T14:59:55.489" v="399" actId="113"/>
        <pc:sldMkLst>
          <pc:docMk/>
          <pc:sldMk cId="1557707240" sldId="257"/>
        </pc:sldMkLst>
        <pc:spChg chg="mod">
          <ac:chgData name="Pulch, Florian" userId="c1609897-2e36-43d0-81d5-e1652fcc83cb" providerId="ADAL" clId="{DD062322-E2F2-4D1F-B18F-87FFBC61427A}" dt="2020-04-10T14:57:53.197" v="14" actId="113"/>
          <ac:spMkLst>
            <pc:docMk/>
            <pc:sldMk cId="1557707240" sldId="257"/>
            <ac:spMk id="4" creationId="{D74908C9-AD99-47C3-A157-FE7C933338C6}"/>
          </ac:spMkLst>
        </pc:spChg>
        <pc:spChg chg="mod">
          <ac:chgData name="Pulch, Florian" userId="c1609897-2e36-43d0-81d5-e1652fcc83cb" providerId="ADAL" clId="{DD062322-E2F2-4D1F-B18F-87FFBC61427A}" dt="2020-04-10T14:59:55.489" v="399" actId="113"/>
          <ac:spMkLst>
            <pc:docMk/>
            <pc:sldMk cId="1557707240" sldId="257"/>
            <ac:spMk id="5" creationId="{8C7714B4-C238-4AC9-A611-985B4968982B}"/>
          </ac:spMkLst>
        </pc:spChg>
        <pc:graphicFrameChg chg="mod">
          <ac:chgData name="Pulch, Florian" userId="c1609897-2e36-43d0-81d5-e1652fcc83cb" providerId="ADAL" clId="{DD062322-E2F2-4D1F-B18F-87FFBC61427A}" dt="2020-04-10T14:57:53.712" v="16"/>
          <ac:graphicFrameMkLst>
            <pc:docMk/>
            <pc:sldMk cId="1557707240" sldId="257"/>
            <ac:graphicFrameMk id="6" creationId="{95A0C90C-BEFF-4FBB-AADC-FB4AC32ECA7B}"/>
          </ac:graphicFrameMkLst>
        </pc:graphicFrameChg>
      </pc:sldChg>
      <pc:sldChg chg="modSp add">
        <pc:chgData name="Pulch, Florian" userId="c1609897-2e36-43d0-81d5-e1652fcc83cb" providerId="ADAL" clId="{DD062322-E2F2-4D1F-B18F-87FFBC61427A}" dt="2020-04-10T15:02:54.737" v="1011" actId="113"/>
        <pc:sldMkLst>
          <pc:docMk/>
          <pc:sldMk cId="3615851215" sldId="258"/>
        </pc:sldMkLst>
        <pc:spChg chg="mod">
          <ac:chgData name="Pulch, Florian" userId="c1609897-2e36-43d0-81d5-e1652fcc83cb" providerId="ADAL" clId="{DD062322-E2F2-4D1F-B18F-87FFBC61427A}" dt="2020-04-10T14:59:59.754" v="419" actId="20577"/>
          <ac:spMkLst>
            <pc:docMk/>
            <pc:sldMk cId="3615851215" sldId="258"/>
            <ac:spMk id="4" creationId="{D74908C9-AD99-47C3-A157-FE7C933338C6}"/>
          </ac:spMkLst>
        </pc:spChg>
        <pc:spChg chg="mod">
          <ac:chgData name="Pulch, Florian" userId="c1609897-2e36-43d0-81d5-e1652fcc83cb" providerId="ADAL" clId="{DD062322-E2F2-4D1F-B18F-87FFBC61427A}" dt="2020-04-10T15:02:54.737" v="1011" actId="113"/>
          <ac:spMkLst>
            <pc:docMk/>
            <pc:sldMk cId="3615851215" sldId="258"/>
            <ac:spMk id="5" creationId="{8C7714B4-C238-4AC9-A611-985B4968982B}"/>
          </ac:spMkLst>
        </pc:spChg>
        <pc:graphicFrameChg chg="mod">
          <ac:chgData name="Pulch, Florian" userId="c1609897-2e36-43d0-81d5-e1652fcc83cb" providerId="ADAL" clId="{DD062322-E2F2-4D1F-B18F-87FFBC61427A}" dt="2020-04-10T15:00:00.272" v="421"/>
          <ac:graphicFrameMkLst>
            <pc:docMk/>
            <pc:sldMk cId="3615851215" sldId="258"/>
            <ac:graphicFrameMk id="6" creationId="{95A0C90C-BEFF-4FBB-AADC-FB4AC32ECA7B}"/>
          </ac:graphicFrameMkLst>
        </pc:graphicFrameChg>
      </pc:sldChg>
      <pc:sldChg chg="addSp modSp add">
        <pc:chgData name="Pulch, Florian" userId="c1609897-2e36-43d0-81d5-e1652fcc83cb" providerId="ADAL" clId="{DD062322-E2F2-4D1F-B18F-87FFBC61427A}" dt="2020-04-10T15:03:29.688" v="1132" actId="20577"/>
        <pc:sldMkLst>
          <pc:docMk/>
          <pc:sldMk cId="3014017198" sldId="259"/>
        </pc:sldMkLst>
        <pc:spChg chg="add mod ord modVis">
          <ac:chgData name="Pulch, Florian" userId="c1609897-2e36-43d0-81d5-e1652fcc83cb" providerId="ADAL" clId="{DD062322-E2F2-4D1F-B18F-87FFBC61427A}" dt="2020-04-10T15:03:07.099" v="1060"/>
          <ac:spMkLst>
            <pc:docMk/>
            <pc:sldMk cId="3014017198" sldId="259"/>
            <ac:spMk id="2" creationId="{B001BC01-1374-4ED9-825F-C525C585EAAF}"/>
          </ac:spMkLst>
        </pc:spChg>
        <pc:spChg chg="mod ord">
          <ac:chgData name="Pulch, Florian" userId="c1609897-2e36-43d0-81d5-e1652fcc83cb" providerId="ADAL" clId="{DD062322-E2F2-4D1F-B18F-87FFBC61427A}" dt="2020-04-10T15:03:07.099" v="1062"/>
          <ac:spMkLst>
            <pc:docMk/>
            <pc:sldMk cId="3014017198" sldId="259"/>
            <ac:spMk id="4" creationId="{D74908C9-AD99-47C3-A157-FE7C933338C6}"/>
          </ac:spMkLst>
        </pc:spChg>
        <pc:spChg chg="mod ord">
          <ac:chgData name="Pulch, Florian" userId="c1609897-2e36-43d0-81d5-e1652fcc83cb" providerId="ADAL" clId="{DD062322-E2F2-4D1F-B18F-87FFBC61427A}" dt="2020-04-10T15:03:29.688" v="1132" actId="20577"/>
          <ac:spMkLst>
            <pc:docMk/>
            <pc:sldMk cId="3014017198" sldId="259"/>
            <ac:spMk id="5" creationId="{8C7714B4-C238-4AC9-A611-985B4968982B}"/>
          </ac:spMkLst>
        </pc:spChg>
        <pc:graphicFrameChg chg="mod ord">
          <ac:chgData name="Pulch, Florian" userId="c1609897-2e36-43d0-81d5-e1652fcc83cb" providerId="ADAL" clId="{DD062322-E2F2-4D1F-B18F-87FFBC61427A}" dt="2020-04-10T15:03:07.103" v="1066"/>
          <ac:graphicFrameMkLst>
            <pc:docMk/>
            <pc:sldMk cId="3014017198" sldId="259"/>
            <ac:graphicFrameMk id="6" creationId="{95A0C90C-BEFF-4FBB-AADC-FB4AC32ECA7B}"/>
          </ac:graphicFrameMkLst>
        </pc:graphicFrameChg>
      </pc:sldChg>
      <pc:sldChg chg="addSp delSp modSp add">
        <pc:chgData name="Pulch, Florian" userId="c1609897-2e36-43d0-81d5-e1652fcc83cb" providerId="ADAL" clId="{DD062322-E2F2-4D1F-B18F-87FFBC61427A}" dt="2020-04-10T15:10:46.170" v="1552" actId="20577"/>
        <pc:sldMkLst>
          <pc:docMk/>
          <pc:sldMk cId="1368854949" sldId="260"/>
        </pc:sldMkLst>
        <pc:spChg chg="mod">
          <ac:chgData name="Pulch, Florian" userId="c1609897-2e36-43d0-81d5-e1652fcc83cb" providerId="ADAL" clId="{DD062322-E2F2-4D1F-B18F-87FFBC61427A}" dt="2020-04-10T15:03:35.541" v="1140" actId="20577"/>
          <ac:spMkLst>
            <pc:docMk/>
            <pc:sldMk cId="1368854949" sldId="260"/>
            <ac:spMk id="4" creationId="{D74908C9-AD99-47C3-A157-FE7C933338C6}"/>
          </ac:spMkLst>
        </pc:spChg>
        <pc:spChg chg="del mod">
          <ac:chgData name="Pulch, Florian" userId="c1609897-2e36-43d0-81d5-e1652fcc83cb" providerId="ADAL" clId="{DD062322-E2F2-4D1F-B18F-87FFBC61427A}" dt="2020-04-10T15:04:44.166" v="1144" actId="931"/>
          <ac:spMkLst>
            <pc:docMk/>
            <pc:sldMk cId="1368854949" sldId="260"/>
            <ac:spMk id="5" creationId="{8C7714B4-C238-4AC9-A611-985B4968982B}"/>
          </ac:spMkLst>
        </pc:spChg>
        <pc:spChg chg="add del mod">
          <ac:chgData name="Pulch, Florian" userId="c1609897-2e36-43d0-81d5-e1652fcc83cb" providerId="ADAL" clId="{DD062322-E2F2-4D1F-B18F-87FFBC61427A}" dt="2020-04-10T15:05:59.217" v="1146" actId="931"/>
          <ac:spMkLst>
            <pc:docMk/>
            <pc:sldMk cId="1368854949" sldId="260"/>
            <ac:spMk id="9" creationId="{16D478A9-ECE1-4338-B28A-A49CA74D2076}"/>
          </ac:spMkLst>
        </pc:spChg>
        <pc:spChg chg="add del mod">
          <ac:chgData name="Pulch, Florian" userId="c1609897-2e36-43d0-81d5-e1652fcc83cb" providerId="ADAL" clId="{DD062322-E2F2-4D1F-B18F-87FFBC61427A}" dt="2020-04-10T15:06:13.501" v="1151" actId="11529"/>
          <ac:spMkLst>
            <pc:docMk/>
            <pc:sldMk cId="1368854949" sldId="260"/>
            <ac:spMk id="12" creationId="{76ACF948-D481-4BB0-AA6C-B44B1E60232F}"/>
          </ac:spMkLst>
        </pc:spChg>
        <pc:spChg chg="add mod">
          <ac:chgData name="Pulch, Florian" userId="c1609897-2e36-43d0-81d5-e1652fcc83cb" providerId="ADAL" clId="{DD062322-E2F2-4D1F-B18F-87FFBC61427A}" dt="2020-04-10T15:09:30.572" v="1305" actId="1076"/>
          <ac:spMkLst>
            <pc:docMk/>
            <pc:sldMk cId="1368854949" sldId="260"/>
            <ac:spMk id="13" creationId="{70607102-559B-4053-8587-5A8BB2EA0D85}"/>
          </ac:spMkLst>
        </pc:spChg>
        <pc:spChg chg="add del mod">
          <ac:chgData name="Pulch, Florian" userId="c1609897-2e36-43d0-81d5-e1652fcc83cb" providerId="ADAL" clId="{DD062322-E2F2-4D1F-B18F-87FFBC61427A}" dt="2020-04-10T15:06:51.852" v="1163" actId="478"/>
          <ac:spMkLst>
            <pc:docMk/>
            <pc:sldMk cId="1368854949" sldId="260"/>
            <ac:spMk id="14" creationId="{0C1E31A9-FAA7-4283-9764-49770AEF9596}"/>
          </ac:spMkLst>
        </pc:spChg>
        <pc:spChg chg="add mod">
          <ac:chgData name="Pulch, Florian" userId="c1609897-2e36-43d0-81d5-e1652fcc83cb" providerId="ADAL" clId="{DD062322-E2F2-4D1F-B18F-87FFBC61427A}" dt="2020-04-10T15:06:43.793" v="1160" actId="571"/>
          <ac:spMkLst>
            <pc:docMk/>
            <pc:sldMk cId="1368854949" sldId="260"/>
            <ac:spMk id="16" creationId="{6A8AC140-A786-427B-983C-4BC9B270F681}"/>
          </ac:spMkLst>
        </pc:spChg>
        <pc:spChg chg="add mod">
          <ac:chgData name="Pulch, Florian" userId="c1609897-2e36-43d0-81d5-e1652fcc83cb" providerId="ADAL" clId="{DD062322-E2F2-4D1F-B18F-87FFBC61427A}" dt="2020-04-10T15:06:45.758" v="1162" actId="571"/>
          <ac:spMkLst>
            <pc:docMk/>
            <pc:sldMk cId="1368854949" sldId="260"/>
            <ac:spMk id="18" creationId="{532E2079-9153-4FC6-9B4D-30C8470F402F}"/>
          </ac:spMkLst>
        </pc:spChg>
        <pc:spChg chg="add del mod">
          <ac:chgData name="Pulch, Florian" userId="c1609897-2e36-43d0-81d5-e1652fcc83cb" providerId="ADAL" clId="{DD062322-E2F2-4D1F-B18F-87FFBC61427A}" dt="2020-04-10T15:07:15.958" v="1167" actId="11529"/>
          <ac:spMkLst>
            <pc:docMk/>
            <pc:sldMk cId="1368854949" sldId="260"/>
            <ac:spMk id="19" creationId="{1B483DB4-9CFC-470F-B295-7DACE6F78775}"/>
          </ac:spMkLst>
        </pc:spChg>
        <pc:spChg chg="add del mod">
          <ac:chgData name="Pulch, Florian" userId="c1609897-2e36-43d0-81d5-e1652fcc83cb" providerId="ADAL" clId="{DD062322-E2F2-4D1F-B18F-87FFBC61427A}" dt="2020-04-10T15:07:56.314" v="1173" actId="11529"/>
          <ac:spMkLst>
            <pc:docMk/>
            <pc:sldMk cId="1368854949" sldId="260"/>
            <ac:spMk id="20" creationId="{C9203E42-BEE6-4615-8326-35D4666829AC}"/>
          </ac:spMkLst>
        </pc:spChg>
        <pc:spChg chg="add mod">
          <ac:chgData name="Pulch, Florian" userId="c1609897-2e36-43d0-81d5-e1652fcc83cb" providerId="ADAL" clId="{DD062322-E2F2-4D1F-B18F-87FFBC61427A}" dt="2020-04-10T15:09:30.572" v="1305" actId="1076"/>
          <ac:spMkLst>
            <pc:docMk/>
            <pc:sldMk cId="1368854949" sldId="260"/>
            <ac:spMk id="21" creationId="{9A852535-DE14-4D31-81B4-5AD3D7163E37}"/>
          </ac:spMkLst>
        </pc:spChg>
        <pc:spChg chg="add mod">
          <ac:chgData name="Pulch, Florian" userId="c1609897-2e36-43d0-81d5-e1652fcc83cb" providerId="ADAL" clId="{DD062322-E2F2-4D1F-B18F-87FFBC61427A}" dt="2020-04-10T15:10:46.170" v="1552" actId="20577"/>
          <ac:spMkLst>
            <pc:docMk/>
            <pc:sldMk cId="1368854949" sldId="260"/>
            <ac:spMk id="22" creationId="{25C73FE4-83C6-4C41-A1C1-F2A6AA50800E}"/>
          </ac:spMkLst>
        </pc:spChg>
        <pc:spChg chg="add mod">
          <ac:chgData name="Pulch, Florian" userId="c1609897-2e36-43d0-81d5-e1652fcc83cb" providerId="ADAL" clId="{DD062322-E2F2-4D1F-B18F-87FFBC61427A}" dt="2020-04-10T15:09:33.258" v="1307" actId="1076"/>
          <ac:spMkLst>
            <pc:docMk/>
            <pc:sldMk cId="1368854949" sldId="260"/>
            <ac:spMk id="23" creationId="{986C04DD-1DDC-4F20-B68F-662AC4F0E314}"/>
          </ac:spMkLst>
        </pc:spChg>
        <pc:spChg chg="add mod">
          <ac:chgData name="Pulch, Florian" userId="c1609897-2e36-43d0-81d5-e1652fcc83cb" providerId="ADAL" clId="{DD062322-E2F2-4D1F-B18F-87FFBC61427A}" dt="2020-04-10T15:09:35.908" v="1308" actId="1076"/>
          <ac:spMkLst>
            <pc:docMk/>
            <pc:sldMk cId="1368854949" sldId="260"/>
            <ac:spMk id="24" creationId="{9A0F5F35-DB30-41D5-8593-E7983F01429A}"/>
          </ac:spMkLst>
        </pc:spChg>
        <pc:spChg chg="add mod">
          <ac:chgData name="Pulch, Florian" userId="c1609897-2e36-43d0-81d5-e1652fcc83cb" providerId="ADAL" clId="{DD062322-E2F2-4D1F-B18F-87FFBC61427A}" dt="2020-04-10T15:09:47.583" v="1312" actId="1076"/>
          <ac:spMkLst>
            <pc:docMk/>
            <pc:sldMk cId="1368854949" sldId="260"/>
            <ac:spMk id="25" creationId="{56135F72-63E1-4D1F-87FE-9FC14ABF2838}"/>
          </ac:spMkLst>
        </pc:spChg>
        <pc:spChg chg="add mod">
          <ac:chgData name="Pulch, Florian" userId="c1609897-2e36-43d0-81d5-e1652fcc83cb" providerId="ADAL" clId="{DD062322-E2F2-4D1F-B18F-87FFBC61427A}" dt="2020-04-10T15:10:02.266" v="1363" actId="20577"/>
          <ac:spMkLst>
            <pc:docMk/>
            <pc:sldMk cId="1368854949" sldId="260"/>
            <ac:spMk id="26" creationId="{AEB24265-CA93-4A8E-9F7D-E3FFC5BFB743}"/>
          </ac:spMkLst>
        </pc:spChg>
        <pc:graphicFrameChg chg="mod">
          <ac:chgData name="Pulch, Florian" userId="c1609897-2e36-43d0-81d5-e1652fcc83cb" providerId="ADAL" clId="{DD062322-E2F2-4D1F-B18F-87FFBC61427A}" dt="2020-04-10T15:03:36.053" v="1142"/>
          <ac:graphicFrameMkLst>
            <pc:docMk/>
            <pc:sldMk cId="1368854949" sldId="260"/>
            <ac:graphicFrameMk id="6" creationId="{95A0C90C-BEFF-4FBB-AADC-FB4AC32ECA7B}"/>
          </ac:graphicFrameMkLst>
        </pc:graphicFrameChg>
        <pc:picChg chg="add del mod">
          <ac:chgData name="Pulch, Florian" userId="c1609897-2e36-43d0-81d5-e1652fcc83cb" providerId="ADAL" clId="{DD062322-E2F2-4D1F-B18F-87FFBC61427A}" dt="2020-04-10T15:05:48.849" v="1145" actId="478"/>
          <ac:picMkLst>
            <pc:docMk/>
            <pc:sldMk cId="1368854949" sldId="260"/>
            <ac:picMk id="7" creationId="{2C365864-F872-40F5-8990-DDA50253B530}"/>
          </ac:picMkLst>
        </pc:picChg>
        <pc:picChg chg="add mod">
          <ac:chgData name="Pulch, Florian" userId="c1609897-2e36-43d0-81d5-e1652fcc83cb" providerId="ADAL" clId="{DD062322-E2F2-4D1F-B18F-87FFBC61427A}" dt="2020-04-10T15:09:30.572" v="1305" actId="1076"/>
          <ac:picMkLst>
            <pc:docMk/>
            <pc:sldMk cId="1368854949" sldId="260"/>
            <ac:picMk id="11" creationId="{7D191879-5763-401D-8192-6CAC3907BD60}"/>
          </ac:picMkLst>
        </pc:picChg>
        <pc:picChg chg="add mod">
          <ac:chgData name="Pulch, Florian" userId="c1609897-2e36-43d0-81d5-e1652fcc83cb" providerId="ADAL" clId="{DD062322-E2F2-4D1F-B18F-87FFBC61427A}" dt="2020-04-10T15:06:43.793" v="1160" actId="571"/>
          <ac:picMkLst>
            <pc:docMk/>
            <pc:sldMk cId="1368854949" sldId="260"/>
            <ac:picMk id="15" creationId="{79194782-BD0F-4DBD-8B65-3154E018700A}"/>
          </ac:picMkLst>
        </pc:picChg>
        <pc:picChg chg="add mod">
          <ac:chgData name="Pulch, Florian" userId="c1609897-2e36-43d0-81d5-e1652fcc83cb" providerId="ADAL" clId="{DD062322-E2F2-4D1F-B18F-87FFBC61427A}" dt="2020-04-10T15:06:45.758" v="1162" actId="571"/>
          <ac:picMkLst>
            <pc:docMk/>
            <pc:sldMk cId="1368854949" sldId="260"/>
            <ac:picMk id="17" creationId="{B435CB4F-D51D-4C57-8EF8-AA32C33C98CC}"/>
          </ac:picMkLst>
        </pc:picChg>
      </pc:sldChg>
      <pc:sldChg chg="delSp modSp add">
        <pc:chgData name="Pulch, Florian" userId="c1609897-2e36-43d0-81d5-e1652fcc83cb" providerId="ADAL" clId="{DD062322-E2F2-4D1F-B18F-87FFBC61427A}" dt="2020-04-10T15:11:21.030" v="1694" actId="1076"/>
        <pc:sldMkLst>
          <pc:docMk/>
          <pc:sldMk cId="2954525051" sldId="261"/>
        </pc:sldMkLst>
        <pc:spChg chg="mod">
          <ac:chgData name="Pulch, Florian" userId="c1609897-2e36-43d0-81d5-e1652fcc83cb" providerId="ADAL" clId="{DD062322-E2F2-4D1F-B18F-87FFBC61427A}" dt="2020-04-10T15:10:52.460" v="1567" actId="20577"/>
          <ac:spMkLst>
            <pc:docMk/>
            <pc:sldMk cId="2954525051" sldId="261"/>
            <ac:spMk id="4" creationId="{D74908C9-AD99-47C3-A157-FE7C933338C6}"/>
          </ac:spMkLst>
        </pc:spChg>
        <pc:spChg chg="mod">
          <ac:chgData name="Pulch, Florian" userId="c1609897-2e36-43d0-81d5-e1652fcc83cb" providerId="ADAL" clId="{DD062322-E2F2-4D1F-B18F-87FFBC61427A}" dt="2020-04-10T15:11:21.030" v="1694" actId="1076"/>
          <ac:spMkLst>
            <pc:docMk/>
            <pc:sldMk cId="2954525051" sldId="261"/>
            <ac:spMk id="22" creationId="{25C73FE4-83C6-4C41-A1C1-F2A6AA50800E}"/>
          </ac:spMkLst>
        </pc:spChg>
        <pc:spChg chg="del">
          <ac:chgData name="Pulch, Florian" userId="c1609897-2e36-43d0-81d5-e1652fcc83cb" providerId="ADAL" clId="{DD062322-E2F2-4D1F-B18F-87FFBC61427A}" dt="2020-04-10T15:10:57.041" v="1570" actId="478"/>
          <ac:spMkLst>
            <pc:docMk/>
            <pc:sldMk cId="2954525051" sldId="261"/>
            <ac:spMk id="23" creationId="{986C04DD-1DDC-4F20-B68F-662AC4F0E314}"/>
          </ac:spMkLst>
        </pc:spChg>
        <pc:spChg chg="del">
          <ac:chgData name="Pulch, Florian" userId="c1609897-2e36-43d0-81d5-e1652fcc83cb" providerId="ADAL" clId="{DD062322-E2F2-4D1F-B18F-87FFBC61427A}" dt="2020-04-10T15:10:57.041" v="1570" actId="478"/>
          <ac:spMkLst>
            <pc:docMk/>
            <pc:sldMk cId="2954525051" sldId="261"/>
            <ac:spMk id="24" creationId="{9A0F5F35-DB30-41D5-8593-E7983F01429A}"/>
          </ac:spMkLst>
        </pc:spChg>
        <pc:spChg chg="del">
          <ac:chgData name="Pulch, Florian" userId="c1609897-2e36-43d0-81d5-e1652fcc83cb" providerId="ADAL" clId="{DD062322-E2F2-4D1F-B18F-87FFBC61427A}" dt="2020-04-10T15:10:57.041" v="1570" actId="478"/>
          <ac:spMkLst>
            <pc:docMk/>
            <pc:sldMk cId="2954525051" sldId="261"/>
            <ac:spMk id="25" creationId="{56135F72-63E1-4D1F-87FE-9FC14ABF2838}"/>
          </ac:spMkLst>
        </pc:spChg>
        <pc:spChg chg="del">
          <ac:chgData name="Pulch, Florian" userId="c1609897-2e36-43d0-81d5-e1652fcc83cb" providerId="ADAL" clId="{DD062322-E2F2-4D1F-B18F-87FFBC61427A}" dt="2020-04-10T15:10:57.041" v="1570" actId="478"/>
          <ac:spMkLst>
            <pc:docMk/>
            <pc:sldMk cId="2954525051" sldId="261"/>
            <ac:spMk id="26" creationId="{AEB24265-CA93-4A8E-9F7D-E3FFC5BFB743}"/>
          </ac:spMkLst>
        </pc:spChg>
        <pc:graphicFrameChg chg="mod">
          <ac:chgData name="Pulch, Florian" userId="c1609897-2e36-43d0-81d5-e1652fcc83cb" providerId="ADAL" clId="{DD062322-E2F2-4D1F-B18F-87FFBC61427A}" dt="2020-04-10T15:10:52.979" v="1569"/>
          <ac:graphicFrameMkLst>
            <pc:docMk/>
            <pc:sldMk cId="2954525051" sldId="261"/>
            <ac:graphicFrameMk id="6" creationId="{95A0C90C-BEFF-4FBB-AADC-FB4AC32ECA7B}"/>
          </ac:graphicFrameMkLst>
        </pc:graphicFrameChg>
      </pc:sldChg>
      <pc:sldChg chg="modSp add">
        <pc:chgData name="Pulch, Florian" userId="c1609897-2e36-43d0-81d5-e1652fcc83cb" providerId="ADAL" clId="{DD062322-E2F2-4D1F-B18F-87FFBC61427A}" dt="2020-04-10T15:11:43.181" v="1847" actId="20577"/>
        <pc:sldMkLst>
          <pc:docMk/>
          <pc:sldMk cId="155038725" sldId="262"/>
        </pc:sldMkLst>
        <pc:spChg chg="mod">
          <ac:chgData name="Pulch, Florian" userId="c1609897-2e36-43d0-81d5-e1652fcc83cb" providerId="ADAL" clId="{DD062322-E2F2-4D1F-B18F-87FFBC61427A}" dt="2020-04-10T15:11:26.118" v="1724" actId="6549"/>
          <ac:spMkLst>
            <pc:docMk/>
            <pc:sldMk cId="155038725" sldId="262"/>
            <ac:spMk id="2" creationId="{B001BC01-1374-4ED9-825F-C525C585EAAF}"/>
          </ac:spMkLst>
        </pc:spChg>
        <pc:spChg chg="mod">
          <ac:chgData name="Pulch, Florian" userId="c1609897-2e36-43d0-81d5-e1652fcc83cb" providerId="ADAL" clId="{DD062322-E2F2-4D1F-B18F-87FFBC61427A}" dt="2020-04-10T15:11:26.224" v="1728" actId="20577"/>
          <ac:spMkLst>
            <pc:docMk/>
            <pc:sldMk cId="155038725" sldId="262"/>
            <ac:spMk id="4" creationId="{D74908C9-AD99-47C3-A157-FE7C933338C6}"/>
          </ac:spMkLst>
        </pc:spChg>
        <pc:spChg chg="mod">
          <ac:chgData name="Pulch, Florian" userId="c1609897-2e36-43d0-81d5-e1652fcc83cb" providerId="ADAL" clId="{DD062322-E2F2-4D1F-B18F-87FFBC61427A}" dt="2020-04-10T15:11:43.181" v="1847" actId="20577"/>
          <ac:spMkLst>
            <pc:docMk/>
            <pc:sldMk cId="155038725" sldId="262"/>
            <ac:spMk id="22" creationId="{25C73FE4-83C6-4C41-A1C1-F2A6AA50800E}"/>
          </ac:spMkLst>
        </pc:spChg>
        <pc:graphicFrameChg chg="mod">
          <ac:chgData name="Pulch, Florian" userId="c1609897-2e36-43d0-81d5-e1652fcc83cb" providerId="ADAL" clId="{DD062322-E2F2-4D1F-B18F-87FFBC61427A}" dt="2020-04-10T15:11:26.726" v="1730"/>
          <ac:graphicFrameMkLst>
            <pc:docMk/>
            <pc:sldMk cId="155038725" sldId="262"/>
            <ac:graphicFrameMk id="6" creationId="{95A0C90C-BEFF-4FBB-AADC-FB4AC32ECA7B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D03B3E-002D-43F8-976B-8D561CB1AA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A9E4F3A-6465-4913-824E-92DEA20C67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715388-100B-4130-A81F-5641FE4933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9C511-C351-453E-927C-3FC6D511BDAE}" type="datetimeFigureOut">
              <a:rPr lang="en-US" smtClean="0"/>
              <a:t>4/1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087C7E-C93B-451D-BEF5-34EDF3F05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5D69A7-5B8C-4A54-B597-7FF4EF882E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48B82-029D-4950-A49E-CB0D5DC60F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157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ECDBBB-2735-4944-8806-5B82AF2A9A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2C096AC-B859-4405-807D-68F140156B3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D561EF-5416-400E-91D3-A9CDE5FA35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9C511-C351-453E-927C-3FC6D511BDAE}" type="datetimeFigureOut">
              <a:rPr lang="en-US" smtClean="0"/>
              <a:t>4/1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CFB764-C58D-4CA3-9E51-E3A1A3F14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ACCEA9-82BF-45E4-A838-E2B3034630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48B82-029D-4950-A49E-CB0D5DC60F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8646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9D653C9-2BE6-464E-969C-33E4AF7DD46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A4AFBE-76FD-42BB-8B6C-91AC900066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5E2725-A119-4D08-99B1-46ACE00A37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9C511-C351-453E-927C-3FC6D511BDAE}" type="datetimeFigureOut">
              <a:rPr lang="en-US" smtClean="0"/>
              <a:t>4/1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F3F58C-476B-4820-92BC-C2E2BF8070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59D11A-476F-4F4C-B25E-FF425A9663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48B82-029D-4950-A49E-CB0D5DC60F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05600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D1C561-4B1A-4897-938F-791235DD91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25EFDB-4E43-4087-B915-FC0DD275CA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E10AD3-D9C2-494D-B3DB-82623AB20F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9C511-C351-453E-927C-3FC6D511BDAE}" type="datetimeFigureOut">
              <a:rPr lang="en-US" smtClean="0"/>
              <a:t>4/1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E8AD50-1AE6-46F4-977E-106F43A253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877505-3EEB-48FA-8DF8-68D118EC1A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48B82-029D-4950-A49E-CB0D5DC60F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37405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06CAE-1465-489C-8811-FCD38690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54E3C0-1478-46E7-954A-33E3CF7CD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CA60D6-322B-400E-AB22-D16C067842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9C511-C351-453E-927C-3FC6D511BDAE}" type="datetimeFigureOut">
              <a:rPr lang="en-US" smtClean="0"/>
              <a:t>4/1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811FD4-BAAC-4DDC-A7F0-8941A3D18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3EAD09-BA98-4CF7-938C-2B7B5F38F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48B82-029D-4950-A49E-CB0D5DC60F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5032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A31A6C-A952-4525-956A-6DEBCF6B88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F89976-1B7E-4893-87F0-CCCD6497B70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4FF1DF5-2C2C-4105-888B-4FE2B4042C7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A958EC-8F8A-4180-8D5F-797E5EFEF1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9C511-C351-453E-927C-3FC6D511BDAE}" type="datetimeFigureOut">
              <a:rPr lang="en-US" smtClean="0"/>
              <a:t>4/1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67C1CF-8868-4BB0-B47F-2CBFCB6A29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0893D2-A7E6-4C45-8BE1-3B06B88516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48B82-029D-4950-A49E-CB0D5DC60F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49244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5E7B1F-A242-4A52-9839-18F46172C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A7736F-3300-4879-B813-69A90842DD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AEF925-A357-4137-B9CB-0CDBF54A887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12C2FC-6251-42D0-8E3D-0AE54592A25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E024CE2-128F-4A67-AC66-62AFA799654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0411E0D-B1E7-4433-BD5B-188EEDABE7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9C511-C351-453E-927C-3FC6D511BDAE}" type="datetimeFigureOut">
              <a:rPr lang="en-US" smtClean="0"/>
              <a:t>4/10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B135B1A-6BF5-47C6-9894-27438361B2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A189D34-C137-4EEA-8CF2-DA2FFCFCB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48B82-029D-4950-A49E-CB0D5DC60F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1511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680A38-A16D-4D16-9EA9-49DC66FB1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7065B8-7FC3-4353-AADB-4389BD33FD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9C511-C351-453E-927C-3FC6D511BDAE}" type="datetimeFigureOut">
              <a:rPr lang="en-US" smtClean="0"/>
              <a:t>4/10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3D31A5-F321-412A-9D1E-E8246D25A8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DFCE3F-2481-4565-ACDA-7DA31EB97E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48B82-029D-4950-A49E-CB0D5DC60F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7336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8EDA8D-73BF-4665-B9E1-8A274E14C4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9C511-C351-453E-927C-3FC6D511BDAE}" type="datetimeFigureOut">
              <a:rPr lang="en-US" smtClean="0"/>
              <a:t>4/10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C3C204-4A83-4021-BE97-264C9BD712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42908-3ADD-4B49-A578-E7907BDB5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48B82-029D-4950-A49E-CB0D5DC60F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2497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0297C4-8B3A-4097-90B0-9F59A573C6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26023F-9B0D-4FB0-9F6D-33DF375ACC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298227-B8D8-488C-A574-223F72F7EC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7B8023-D2D6-48DB-836F-4CED08262C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9C511-C351-453E-927C-3FC6D511BDAE}" type="datetimeFigureOut">
              <a:rPr lang="en-US" smtClean="0"/>
              <a:t>4/1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19402A-D177-4C1C-A231-F21EEFF83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9374A4-5775-42F4-8EC6-405D2ED0AC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48B82-029D-4950-A49E-CB0D5DC60F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9903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FD6D5A-7D47-422C-B16C-176E5F9299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A4D0CE-B92F-45B4-B7D4-373CF589D96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93E262-1C20-418A-BD21-2A33D12EE6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9F69A1A-4CE3-497E-9029-7008918A7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9C511-C351-453E-927C-3FC6D511BDAE}" type="datetimeFigureOut">
              <a:rPr lang="en-US" smtClean="0"/>
              <a:t>4/1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FDA039E-F71D-4B4D-8234-B067E152FC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011D1D-582B-48F5-9F25-FABDD89CE5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948B82-029D-4950-A49E-CB0D5DC60F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4097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E37DACD-D7E1-47D0-98B9-C6A555D4E5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16116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411" imgH="412" progId="TCLayout.ActiveDocument.1">
                  <p:embed/>
                </p:oleObj>
              </mc:Choice>
              <mc:Fallback>
                <p:oleObj name="think-cell Slide" r:id="rId16" imgW="411" imgH="41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E37DACD-D7E1-47D0-98B9-C6A555D4E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DE40BBE-36AB-45D1-A051-85BF1A41EE60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0C7420A-6435-4EEC-A93D-B7EBD94D47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A21BAC-4373-4A5F-84E0-3AFEDE08FD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9C4885-BEF6-478A-9735-01B29CB7D6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E9C511-C351-453E-927C-3FC6D511BDAE}" type="datetimeFigureOut">
              <a:rPr lang="en-US" smtClean="0"/>
              <a:t>4/1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8B162B-62A3-4C82-9189-4F6F251473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377A51-1E7E-44D7-A423-49138C325F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948B82-029D-4950-A49E-CB0D5DC60F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804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tmp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tmp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tmp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5A0C90C-BEFF-4FBB-AADC-FB4AC32ECA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9808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11" imgH="412" progId="TCLayout.ActiveDocument.1">
                  <p:embed/>
                </p:oleObj>
              </mc:Choice>
              <mc:Fallback>
                <p:oleObj name="think-cell Slide" r:id="rId4" imgW="411" imgH="41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5A0C90C-BEFF-4FBB-AADC-FB4AC32ECA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74908C9-AD99-47C3-A157-FE7C93333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Introduc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C7714B4-C238-4AC9-A611-985B496898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 gym chain would like to open up a new gym in Toronto</a:t>
            </a:r>
          </a:p>
          <a:p>
            <a:endParaRPr lang="en-US" dirty="0"/>
          </a:p>
          <a:p>
            <a:r>
              <a:rPr lang="en-US" dirty="0"/>
              <a:t>The question for the remainder of this exercise is: </a:t>
            </a:r>
            <a:r>
              <a:rPr lang="en-US" b="1" dirty="0"/>
              <a:t>Where should I open up my gym best?</a:t>
            </a:r>
          </a:p>
        </p:txBody>
      </p:sp>
    </p:spTree>
    <p:extLst>
      <p:ext uri="{BB962C8B-B14F-4D97-AF65-F5344CB8AC3E}">
        <p14:creationId xmlns:p14="http://schemas.microsoft.com/office/powerpoint/2010/main" val="15577072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5A0C90C-BEFF-4FBB-AADC-FB4AC32ECA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6892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411" imgH="412" progId="TCLayout.ActiveDocument.1">
                  <p:embed/>
                </p:oleObj>
              </mc:Choice>
              <mc:Fallback>
                <p:oleObj name="think-cell Slide" r:id="rId4" imgW="411" imgH="41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5A0C90C-BEFF-4FBB-AADC-FB4AC32ECA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74908C9-AD99-47C3-A157-FE7C93333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onsideration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C7714B4-C238-4AC9-A611-985B496898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ext to price, proximity of a gym to user is key determinant of which gym a prospective gym user will sign up to</a:t>
            </a:r>
          </a:p>
          <a:p>
            <a:r>
              <a:rPr lang="en-US" dirty="0"/>
              <a:t>The average user is willing to commute up to 1.5km to get to a gym</a:t>
            </a:r>
          </a:p>
          <a:p>
            <a:r>
              <a:rPr lang="en-US" b="1" dirty="0"/>
              <a:t>Therefore, the key determinant where to open up a gym is: Are there any other gyms within a 1.5km radius from mine?</a:t>
            </a:r>
          </a:p>
        </p:txBody>
      </p:sp>
    </p:spTree>
    <p:extLst>
      <p:ext uri="{BB962C8B-B14F-4D97-AF65-F5344CB8AC3E}">
        <p14:creationId xmlns:p14="http://schemas.microsoft.com/office/powerpoint/2010/main" val="36158512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5A0C90C-BEFF-4FBB-AADC-FB4AC32ECA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3333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411" imgH="412" progId="TCLayout.ActiveDocument.1">
                  <p:embed/>
                </p:oleObj>
              </mc:Choice>
              <mc:Fallback>
                <p:oleObj name="think-cell Slide" r:id="rId5" imgW="411" imgH="41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5A0C90C-BEFF-4FBB-AADC-FB4AC32ECA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001BC01-1374-4ED9-825F-C525C585EA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74908C9-AD99-47C3-A157-FE7C93333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Data used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C7714B4-C238-4AC9-A611-985B496898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ikipedia export using </a:t>
            </a:r>
            <a:r>
              <a:rPr lang="en-US" dirty="0" err="1"/>
              <a:t>Beautifulsoup</a:t>
            </a:r>
            <a:endParaRPr lang="en-US" dirty="0"/>
          </a:p>
          <a:p>
            <a:r>
              <a:rPr lang="en-US" dirty="0"/>
              <a:t>Foursquare export</a:t>
            </a:r>
          </a:p>
        </p:txBody>
      </p:sp>
    </p:spTree>
    <p:extLst>
      <p:ext uri="{BB962C8B-B14F-4D97-AF65-F5344CB8AC3E}">
        <p14:creationId xmlns:p14="http://schemas.microsoft.com/office/powerpoint/2010/main" val="30140171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5A0C90C-BEFF-4FBB-AADC-FB4AC32ECA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9989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411" imgH="412" progId="TCLayout.ActiveDocument.1">
                  <p:embed/>
                </p:oleObj>
              </mc:Choice>
              <mc:Fallback>
                <p:oleObj name="think-cell Slide" r:id="rId5" imgW="411" imgH="41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5A0C90C-BEFF-4FBB-AADC-FB4AC32ECA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001BC01-1374-4ED9-825F-C525C585EA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74908C9-AD99-47C3-A157-FE7C93333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esults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7D191879-5763-401D-8192-6CAC3907BD6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197" y="2241067"/>
            <a:ext cx="4756240" cy="3269058"/>
          </a:xfrm>
        </p:spPr>
      </p:pic>
      <p:sp>
        <p:nvSpPr>
          <p:cNvPr id="13" name="Flowchart: Connector 12">
            <a:extLst>
              <a:ext uri="{FF2B5EF4-FFF2-40B4-BE49-F238E27FC236}">
                <a16:creationId xmlns:a16="http://schemas.microsoft.com/office/drawing/2014/main" id="{70607102-559B-4053-8587-5A8BB2EA0D85}"/>
              </a:ext>
            </a:extLst>
          </p:cNvPr>
          <p:cNvSpPr/>
          <p:nvPr/>
        </p:nvSpPr>
        <p:spPr>
          <a:xfrm>
            <a:off x="2243403" y="3035029"/>
            <a:ext cx="840567" cy="840567"/>
          </a:xfrm>
          <a:prstGeom prst="flowChartConnector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9A852535-DE14-4D31-81B4-5AD3D7163E37}"/>
              </a:ext>
            </a:extLst>
          </p:cNvPr>
          <p:cNvSpPr/>
          <p:nvPr/>
        </p:nvSpPr>
        <p:spPr>
          <a:xfrm>
            <a:off x="3678539" y="2549630"/>
            <a:ext cx="1756910" cy="1741759"/>
          </a:xfrm>
          <a:custGeom>
            <a:avLst/>
            <a:gdLst>
              <a:gd name="connsiteX0" fmla="*/ 226711 w 1756910"/>
              <a:gd name="connsiteY0" fmla="*/ 557601 h 1741759"/>
              <a:gd name="connsiteX1" fmla="*/ 156861 w 1756910"/>
              <a:gd name="connsiteY1" fmla="*/ 732226 h 1741759"/>
              <a:gd name="connsiteX2" fmla="*/ 58436 w 1756910"/>
              <a:gd name="connsiteY2" fmla="*/ 833826 h 1741759"/>
              <a:gd name="connsiteX3" fmla="*/ 1286 w 1756910"/>
              <a:gd name="connsiteY3" fmla="*/ 1179901 h 1741759"/>
              <a:gd name="connsiteX4" fmla="*/ 112411 w 1756910"/>
              <a:gd name="connsiteY4" fmla="*/ 1265626 h 1741759"/>
              <a:gd name="connsiteX5" fmla="*/ 210836 w 1756910"/>
              <a:gd name="connsiteY5" fmla="*/ 1357701 h 1741759"/>
              <a:gd name="connsiteX6" fmla="*/ 242586 w 1756910"/>
              <a:gd name="connsiteY6" fmla="*/ 1452951 h 1741759"/>
              <a:gd name="connsiteX7" fmla="*/ 261636 w 1756910"/>
              <a:gd name="connsiteY7" fmla="*/ 1605351 h 1741759"/>
              <a:gd name="connsiteX8" fmla="*/ 318786 w 1756910"/>
              <a:gd name="connsiteY8" fmla="*/ 1729176 h 1741759"/>
              <a:gd name="connsiteX9" fmla="*/ 414036 w 1756910"/>
              <a:gd name="connsiteY9" fmla="*/ 1719651 h 1741759"/>
              <a:gd name="connsiteX10" fmla="*/ 436261 w 1756910"/>
              <a:gd name="connsiteY10" fmla="*/ 1570426 h 1741759"/>
              <a:gd name="connsiteX11" fmla="*/ 525161 w 1756910"/>
              <a:gd name="connsiteY11" fmla="*/ 1427551 h 1741759"/>
              <a:gd name="connsiteX12" fmla="*/ 620411 w 1756910"/>
              <a:gd name="connsiteY12" fmla="*/ 1341826 h 1741759"/>
              <a:gd name="connsiteX13" fmla="*/ 766461 w 1756910"/>
              <a:gd name="connsiteY13" fmla="*/ 1291026 h 1741759"/>
              <a:gd name="connsiteX14" fmla="*/ 896636 w 1756910"/>
              <a:gd name="connsiteY14" fmla="*/ 1278326 h 1741759"/>
              <a:gd name="connsiteX15" fmla="*/ 1093486 w 1756910"/>
              <a:gd name="connsiteY15" fmla="*/ 1316426 h 1741759"/>
              <a:gd name="connsiteX16" fmla="*/ 1188736 w 1756910"/>
              <a:gd name="connsiteY16" fmla="*/ 1345001 h 1741759"/>
              <a:gd name="connsiteX17" fmla="*/ 1325261 w 1756910"/>
              <a:gd name="connsiteY17" fmla="*/ 1214826 h 1741759"/>
              <a:gd name="connsiteX18" fmla="*/ 1480836 w 1756910"/>
              <a:gd name="connsiteY18" fmla="*/ 1164026 h 1741759"/>
              <a:gd name="connsiteX19" fmla="*/ 1582436 w 1756910"/>
              <a:gd name="connsiteY19" fmla="*/ 1154501 h 1741759"/>
              <a:gd name="connsiteX20" fmla="*/ 1718961 w 1756910"/>
              <a:gd name="connsiteY20" fmla="*/ 246451 h 1741759"/>
              <a:gd name="connsiteX21" fmla="*/ 829961 w 1756910"/>
              <a:gd name="connsiteY21" fmla="*/ 1976 h 1741759"/>
              <a:gd name="connsiteX22" fmla="*/ 353711 w 1756910"/>
              <a:gd name="connsiteY22" fmla="*/ 335351 h 1741759"/>
              <a:gd name="connsiteX23" fmla="*/ 175911 w 1756910"/>
              <a:gd name="connsiteY23" fmla="*/ 706826 h 1741759"/>
              <a:gd name="connsiteX24" fmla="*/ 55261 w 1756910"/>
              <a:gd name="connsiteY24" fmla="*/ 817951 h 1741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756910" h="1741759">
                <a:moveTo>
                  <a:pt x="226711" y="557601"/>
                </a:moveTo>
                <a:cubicBezTo>
                  <a:pt x="205809" y="621894"/>
                  <a:pt x="184907" y="686188"/>
                  <a:pt x="156861" y="732226"/>
                </a:cubicBezTo>
                <a:cubicBezTo>
                  <a:pt x="128815" y="778264"/>
                  <a:pt x="84365" y="759214"/>
                  <a:pt x="58436" y="833826"/>
                </a:cubicBezTo>
                <a:cubicBezTo>
                  <a:pt x="32507" y="908438"/>
                  <a:pt x="-7710" y="1107934"/>
                  <a:pt x="1286" y="1179901"/>
                </a:cubicBezTo>
                <a:cubicBezTo>
                  <a:pt x="10282" y="1251868"/>
                  <a:pt x="77486" y="1235993"/>
                  <a:pt x="112411" y="1265626"/>
                </a:cubicBezTo>
                <a:cubicBezTo>
                  <a:pt x="147336" y="1295259"/>
                  <a:pt x="189140" y="1326480"/>
                  <a:pt x="210836" y="1357701"/>
                </a:cubicBezTo>
                <a:cubicBezTo>
                  <a:pt x="232532" y="1388922"/>
                  <a:pt x="234119" y="1411676"/>
                  <a:pt x="242586" y="1452951"/>
                </a:cubicBezTo>
                <a:cubicBezTo>
                  <a:pt x="251053" y="1494226"/>
                  <a:pt x="248936" y="1559314"/>
                  <a:pt x="261636" y="1605351"/>
                </a:cubicBezTo>
                <a:cubicBezTo>
                  <a:pt x="274336" y="1651388"/>
                  <a:pt x="293386" y="1710126"/>
                  <a:pt x="318786" y="1729176"/>
                </a:cubicBezTo>
                <a:cubicBezTo>
                  <a:pt x="344186" y="1748226"/>
                  <a:pt x="394457" y="1746109"/>
                  <a:pt x="414036" y="1719651"/>
                </a:cubicBezTo>
                <a:cubicBezTo>
                  <a:pt x="433615" y="1693193"/>
                  <a:pt x="417740" y="1619109"/>
                  <a:pt x="436261" y="1570426"/>
                </a:cubicBezTo>
                <a:cubicBezTo>
                  <a:pt x="454782" y="1521743"/>
                  <a:pt x="494469" y="1465651"/>
                  <a:pt x="525161" y="1427551"/>
                </a:cubicBezTo>
                <a:cubicBezTo>
                  <a:pt x="555853" y="1389451"/>
                  <a:pt x="580194" y="1364580"/>
                  <a:pt x="620411" y="1341826"/>
                </a:cubicBezTo>
                <a:cubicBezTo>
                  <a:pt x="660628" y="1319072"/>
                  <a:pt x="720424" y="1301609"/>
                  <a:pt x="766461" y="1291026"/>
                </a:cubicBezTo>
                <a:cubicBezTo>
                  <a:pt x="812498" y="1280443"/>
                  <a:pt x="842132" y="1274093"/>
                  <a:pt x="896636" y="1278326"/>
                </a:cubicBezTo>
                <a:cubicBezTo>
                  <a:pt x="951140" y="1282559"/>
                  <a:pt x="1044803" y="1305314"/>
                  <a:pt x="1093486" y="1316426"/>
                </a:cubicBezTo>
                <a:cubicBezTo>
                  <a:pt x="1142169" y="1327538"/>
                  <a:pt x="1150107" y="1361934"/>
                  <a:pt x="1188736" y="1345001"/>
                </a:cubicBezTo>
                <a:cubicBezTo>
                  <a:pt x="1227365" y="1328068"/>
                  <a:pt x="1276578" y="1244988"/>
                  <a:pt x="1325261" y="1214826"/>
                </a:cubicBezTo>
                <a:cubicBezTo>
                  <a:pt x="1373944" y="1184664"/>
                  <a:pt x="1437974" y="1174080"/>
                  <a:pt x="1480836" y="1164026"/>
                </a:cubicBezTo>
                <a:cubicBezTo>
                  <a:pt x="1523699" y="1153972"/>
                  <a:pt x="1542749" y="1307430"/>
                  <a:pt x="1582436" y="1154501"/>
                </a:cubicBezTo>
                <a:cubicBezTo>
                  <a:pt x="1622124" y="1001572"/>
                  <a:pt x="1844374" y="438538"/>
                  <a:pt x="1718961" y="246451"/>
                </a:cubicBezTo>
                <a:cubicBezTo>
                  <a:pt x="1593549" y="54363"/>
                  <a:pt x="1057503" y="-12841"/>
                  <a:pt x="829961" y="1976"/>
                </a:cubicBezTo>
                <a:cubicBezTo>
                  <a:pt x="602419" y="16793"/>
                  <a:pt x="462719" y="217876"/>
                  <a:pt x="353711" y="335351"/>
                </a:cubicBezTo>
                <a:cubicBezTo>
                  <a:pt x="244703" y="452826"/>
                  <a:pt x="225653" y="626393"/>
                  <a:pt x="175911" y="706826"/>
                </a:cubicBezTo>
                <a:cubicBezTo>
                  <a:pt x="126169" y="787259"/>
                  <a:pt x="65844" y="796784"/>
                  <a:pt x="55261" y="817951"/>
                </a:cubicBezTo>
              </a:path>
            </a:pathLst>
          </a:cu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25C73FE4-83C6-4C41-A1C1-F2A6AA50800E}"/>
              </a:ext>
            </a:extLst>
          </p:cNvPr>
          <p:cNvSpPr txBox="1">
            <a:spLocks/>
          </p:cNvSpPr>
          <p:nvPr/>
        </p:nvSpPr>
        <p:spPr>
          <a:xfrm>
            <a:off x="6288564" y="2044621"/>
            <a:ext cx="5065235" cy="41323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ts of gyms are in the center of the city</a:t>
            </a:r>
          </a:p>
          <a:p>
            <a:r>
              <a:rPr lang="en-US" dirty="0"/>
              <a:t>There are, however, still some spots available outside of the reach of existing gyms (highlighted in red)</a:t>
            </a:r>
          </a:p>
        </p:txBody>
      </p:sp>
      <p:sp>
        <p:nvSpPr>
          <p:cNvPr id="23" name="Flowchart: Connector 22">
            <a:extLst>
              <a:ext uri="{FF2B5EF4-FFF2-40B4-BE49-F238E27FC236}">
                <a16:creationId xmlns:a16="http://schemas.microsoft.com/office/drawing/2014/main" id="{986C04DD-1DDC-4F20-B68F-662AC4F0E314}"/>
              </a:ext>
            </a:extLst>
          </p:cNvPr>
          <p:cNvSpPr/>
          <p:nvPr/>
        </p:nvSpPr>
        <p:spPr>
          <a:xfrm>
            <a:off x="1266528" y="5679073"/>
            <a:ext cx="391887" cy="391550"/>
          </a:xfrm>
          <a:prstGeom prst="flowChartConnector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A0F5F35-DB30-41D5-8593-E7983F01429A}"/>
              </a:ext>
            </a:extLst>
          </p:cNvPr>
          <p:cNvSpPr txBox="1"/>
          <p:nvPr/>
        </p:nvSpPr>
        <p:spPr>
          <a:xfrm>
            <a:off x="1720890" y="5679503"/>
            <a:ext cx="25784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= white spots</a:t>
            </a:r>
          </a:p>
        </p:txBody>
      </p:sp>
      <p:sp>
        <p:nvSpPr>
          <p:cNvPr id="25" name="Flowchart: Connector 24">
            <a:extLst>
              <a:ext uri="{FF2B5EF4-FFF2-40B4-BE49-F238E27FC236}">
                <a16:creationId xmlns:a16="http://schemas.microsoft.com/office/drawing/2014/main" id="{56135F72-63E1-4D1F-87FE-9FC14ABF2838}"/>
              </a:ext>
            </a:extLst>
          </p:cNvPr>
          <p:cNvSpPr/>
          <p:nvPr/>
        </p:nvSpPr>
        <p:spPr>
          <a:xfrm>
            <a:off x="1266527" y="6176963"/>
            <a:ext cx="391887" cy="391550"/>
          </a:xfrm>
          <a:prstGeom prst="flowChartConnector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EB24265-CA93-4A8E-9F7D-E3FFC5BFB743}"/>
              </a:ext>
            </a:extLst>
          </p:cNvPr>
          <p:cNvSpPr txBox="1"/>
          <p:nvPr/>
        </p:nvSpPr>
        <p:spPr>
          <a:xfrm>
            <a:off x="1720890" y="6176963"/>
            <a:ext cx="25784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= radius of existing gym</a:t>
            </a:r>
          </a:p>
        </p:txBody>
      </p:sp>
    </p:spTree>
    <p:extLst>
      <p:ext uri="{BB962C8B-B14F-4D97-AF65-F5344CB8AC3E}">
        <p14:creationId xmlns:p14="http://schemas.microsoft.com/office/powerpoint/2010/main" val="13688549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5A0C90C-BEFF-4FBB-AADC-FB4AC32ECA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3263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411" imgH="412" progId="TCLayout.ActiveDocument.1">
                  <p:embed/>
                </p:oleObj>
              </mc:Choice>
              <mc:Fallback>
                <p:oleObj name="think-cell Slide" r:id="rId5" imgW="411" imgH="41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5A0C90C-BEFF-4FBB-AADC-FB4AC32ECA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001BC01-1374-4ED9-825F-C525C585EA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74908C9-AD99-47C3-A157-FE7C93333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onclusion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7D191879-5763-401D-8192-6CAC3907BD6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197" y="2241067"/>
            <a:ext cx="4756240" cy="3269058"/>
          </a:xfrm>
        </p:spPr>
      </p:pic>
      <p:sp>
        <p:nvSpPr>
          <p:cNvPr id="13" name="Flowchart: Connector 12">
            <a:extLst>
              <a:ext uri="{FF2B5EF4-FFF2-40B4-BE49-F238E27FC236}">
                <a16:creationId xmlns:a16="http://schemas.microsoft.com/office/drawing/2014/main" id="{70607102-559B-4053-8587-5A8BB2EA0D85}"/>
              </a:ext>
            </a:extLst>
          </p:cNvPr>
          <p:cNvSpPr/>
          <p:nvPr/>
        </p:nvSpPr>
        <p:spPr>
          <a:xfrm>
            <a:off x="2243403" y="3035029"/>
            <a:ext cx="840567" cy="840567"/>
          </a:xfrm>
          <a:prstGeom prst="flowChartConnector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9A852535-DE14-4D31-81B4-5AD3D7163E37}"/>
              </a:ext>
            </a:extLst>
          </p:cNvPr>
          <p:cNvSpPr/>
          <p:nvPr/>
        </p:nvSpPr>
        <p:spPr>
          <a:xfrm>
            <a:off x="3678539" y="2549630"/>
            <a:ext cx="1756910" cy="1741759"/>
          </a:xfrm>
          <a:custGeom>
            <a:avLst/>
            <a:gdLst>
              <a:gd name="connsiteX0" fmla="*/ 226711 w 1756910"/>
              <a:gd name="connsiteY0" fmla="*/ 557601 h 1741759"/>
              <a:gd name="connsiteX1" fmla="*/ 156861 w 1756910"/>
              <a:gd name="connsiteY1" fmla="*/ 732226 h 1741759"/>
              <a:gd name="connsiteX2" fmla="*/ 58436 w 1756910"/>
              <a:gd name="connsiteY2" fmla="*/ 833826 h 1741759"/>
              <a:gd name="connsiteX3" fmla="*/ 1286 w 1756910"/>
              <a:gd name="connsiteY3" fmla="*/ 1179901 h 1741759"/>
              <a:gd name="connsiteX4" fmla="*/ 112411 w 1756910"/>
              <a:gd name="connsiteY4" fmla="*/ 1265626 h 1741759"/>
              <a:gd name="connsiteX5" fmla="*/ 210836 w 1756910"/>
              <a:gd name="connsiteY5" fmla="*/ 1357701 h 1741759"/>
              <a:gd name="connsiteX6" fmla="*/ 242586 w 1756910"/>
              <a:gd name="connsiteY6" fmla="*/ 1452951 h 1741759"/>
              <a:gd name="connsiteX7" fmla="*/ 261636 w 1756910"/>
              <a:gd name="connsiteY7" fmla="*/ 1605351 h 1741759"/>
              <a:gd name="connsiteX8" fmla="*/ 318786 w 1756910"/>
              <a:gd name="connsiteY8" fmla="*/ 1729176 h 1741759"/>
              <a:gd name="connsiteX9" fmla="*/ 414036 w 1756910"/>
              <a:gd name="connsiteY9" fmla="*/ 1719651 h 1741759"/>
              <a:gd name="connsiteX10" fmla="*/ 436261 w 1756910"/>
              <a:gd name="connsiteY10" fmla="*/ 1570426 h 1741759"/>
              <a:gd name="connsiteX11" fmla="*/ 525161 w 1756910"/>
              <a:gd name="connsiteY11" fmla="*/ 1427551 h 1741759"/>
              <a:gd name="connsiteX12" fmla="*/ 620411 w 1756910"/>
              <a:gd name="connsiteY12" fmla="*/ 1341826 h 1741759"/>
              <a:gd name="connsiteX13" fmla="*/ 766461 w 1756910"/>
              <a:gd name="connsiteY13" fmla="*/ 1291026 h 1741759"/>
              <a:gd name="connsiteX14" fmla="*/ 896636 w 1756910"/>
              <a:gd name="connsiteY14" fmla="*/ 1278326 h 1741759"/>
              <a:gd name="connsiteX15" fmla="*/ 1093486 w 1756910"/>
              <a:gd name="connsiteY15" fmla="*/ 1316426 h 1741759"/>
              <a:gd name="connsiteX16" fmla="*/ 1188736 w 1756910"/>
              <a:gd name="connsiteY16" fmla="*/ 1345001 h 1741759"/>
              <a:gd name="connsiteX17" fmla="*/ 1325261 w 1756910"/>
              <a:gd name="connsiteY17" fmla="*/ 1214826 h 1741759"/>
              <a:gd name="connsiteX18" fmla="*/ 1480836 w 1756910"/>
              <a:gd name="connsiteY18" fmla="*/ 1164026 h 1741759"/>
              <a:gd name="connsiteX19" fmla="*/ 1582436 w 1756910"/>
              <a:gd name="connsiteY19" fmla="*/ 1154501 h 1741759"/>
              <a:gd name="connsiteX20" fmla="*/ 1718961 w 1756910"/>
              <a:gd name="connsiteY20" fmla="*/ 246451 h 1741759"/>
              <a:gd name="connsiteX21" fmla="*/ 829961 w 1756910"/>
              <a:gd name="connsiteY21" fmla="*/ 1976 h 1741759"/>
              <a:gd name="connsiteX22" fmla="*/ 353711 w 1756910"/>
              <a:gd name="connsiteY22" fmla="*/ 335351 h 1741759"/>
              <a:gd name="connsiteX23" fmla="*/ 175911 w 1756910"/>
              <a:gd name="connsiteY23" fmla="*/ 706826 h 1741759"/>
              <a:gd name="connsiteX24" fmla="*/ 55261 w 1756910"/>
              <a:gd name="connsiteY24" fmla="*/ 817951 h 1741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756910" h="1741759">
                <a:moveTo>
                  <a:pt x="226711" y="557601"/>
                </a:moveTo>
                <a:cubicBezTo>
                  <a:pt x="205809" y="621894"/>
                  <a:pt x="184907" y="686188"/>
                  <a:pt x="156861" y="732226"/>
                </a:cubicBezTo>
                <a:cubicBezTo>
                  <a:pt x="128815" y="778264"/>
                  <a:pt x="84365" y="759214"/>
                  <a:pt x="58436" y="833826"/>
                </a:cubicBezTo>
                <a:cubicBezTo>
                  <a:pt x="32507" y="908438"/>
                  <a:pt x="-7710" y="1107934"/>
                  <a:pt x="1286" y="1179901"/>
                </a:cubicBezTo>
                <a:cubicBezTo>
                  <a:pt x="10282" y="1251868"/>
                  <a:pt x="77486" y="1235993"/>
                  <a:pt x="112411" y="1265626"/>
                </a:cubicBezTo>
                <a:cubicBezTo>
                  <a:pt x="147336" y="1295259"/>
                  <a:pt x="189140" y="1326480"/>
                  <a:pt x="210836" y="1357701"/>
                </a:cubicBezTo>
                <a:cubicBezTo>
                  <a:pt x="232532" y="1388922"/>
                  <a:pt x="234119" y="1411676"/>
                  <a:pt x="242586" y="1452951"/>
                </a:cubicBezTo>
                <a:cubicBezTo>
                  <a:pt x="251053" y="1494226"/>
                  <a:pt x="248936" y="1559314"/>
                  <a:pt x="261636" y="1605351"/>
                </a:cubicBezTo>
                <a:cubicBezTo>
                  <a:pt x="274336" y="1651388"/>
                  <a:pt x="293386" y="1710126"/>
                  <a:pt x="318786" y="1729176"/>
                </a:cubicBezTo>
                <a:cubicBezTo>
                  <a:pt x="344186" y="1748226"/>
                  <a:pt x="394457" y="1746109"/>
                  <a:pt x="414036" y="1719651"/>
                </a:cubicBezTo>
                <a:cubicBezTo>
                  <a:pt x="433615" y="1693193"/>
                  <a:pt x="417740" y="1619109"/>
                  <a:pt x="436261" y="1570426"/>
                </a:cubicBezTo>
                <a:cubicBezTo>
                  <a:pt x="454782" y="1521743"/>
                  <a:pt x="494469" y="1465651"/>
                  <a:pt x="525161" y="1427551"/>
                </a:cubicBezTo>
                <a:cubicBezTo>
                  <a:pt x="555853" y="1389451"/>
                  <a:pt x="580194" y="1364580"/>
                  <a:pt x="620411" y="1341826"/>
                </a:cubicBezTo>
                <a:cubicBezTo>
                  <a:pt x="660628" y="1319072"/>
                  <a:pt x="720424" y="1301609"/>
                  <a:pt x="766461" y="1291026"/>
                </a:cubicBezTo>
                <a:cubicBezTo>
                  <a:pt x="812498" y="1280443"/>
                  <a:pt x="842132" y="1274093"/>
                  <a:pt x="896636" y="1278326"/>
                </a:cubicBezTo>
                <a:cubicBezTo>
                  <a:pt x="951140" y="1282559"/>
                  <a:pt x="1044803" y="1305314"/>
                  <a:pt x="1093486" y="1316426"/>
                </a:cubicBezTo>
                <a:cubicBezTo>
                  <a:pt x="1142169" y="1327538"/>
                  <a:pt x="1150107" y="1361934"/>
                  <a:pt x="1188736" y="1345001"/>
                </a:cubicBezTo>
                <a:cubicBezTo>
                  <a:pt x="1227365" y="1328068"/>
                  <a:pt x="1276578" y="1244988"/>
                  <a:pt x="1325261" y="1214826"/>
                </a:cubicBezTo>
                <a:cubicBezTo>
                  <a:pt x="1373944" y="1184664"/>
                  <a:pt x="1437974" y="1174080"/>
                  <a:pt x="1480836" y="1164026"/>
                </a:cubicBezTo>
                <a:cubicBezTo>
                  <a:pt x="1523699" y="1153972"/>
                  <a:pt x="1542749" y="1307430"/>
                  <a:pt x="1582436" y="1154501"/>
                </a:cubicBezTo>
                <a:cubicBezTo>
                  <a:pt x="1622124" y="1001572"/>
                  <a:pt x="1844374" y="438538"/>
                  <a:pt x="1718961" y="246451"/>
                </a:cubicBezTo>
                <a:cubicBezTo>
                  <a:pt x="1593549" y="54363"/>
                  <a:pt x="1057503" y="-12841"/>
                  <a:pt x="829961" y="1976"/>
                </a:cubicBezTo>
                <a:cubicBezTo>
                  <a:pt x="602419" y="16793"/>
                  <a:pt x="462719" y="217876"/>
                  <a:pt x="353711" y="335351"/>
                </a:cubicBezTo>
                <a:cubicBezTo>
                  <a:pt x="244703" y="452826"/>
                  <a:pt x="225653" y="626393"/>
                  <a:pt x="175911" y="706826"/>
                </a:cubicBezTo>
                <a:cubicBezTo>
                  <a:pt x="126169" y="787259"/>
                  <a:pt x="65844" y="796784"/>
                  <a:pt x="55261" y="817951"/>
                </a:cubicBezTo>
              </a:path>
            </a:pathLst>
          </a:cu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25C73FE4-83C6-4C41-A1C1-F2A6AA50800E}"/>
              </a:ext>
            </a:extLst>
          </p:cNvPr>
          <p:cNvSpPr txBox="1">
            <a:spLocks/>
          </p:cNvSpPr>
          <p:nvPr/>
        </p:nvSpPr>
        <p:spPr>
          <a:xfrm>
            <a:off x="6288564" y="2360533"/>
            <a:ext cx="5065235" cy="41323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nsider opening up a gym in the area of East York to avoid any competi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45250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5A0C90C-BEFF-4FBB-AADC-FB4AC32ECA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819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411" imgH="412" progId="TCLayout.ActiveDocument.1">
                  <p:embed/>
                </p:oleObj>
              </mc:Choice>
              <mc:Fallback>
                <p:oleObj name="think-cell Slide" r:id="rId5" imgW="411" imgH="41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5A0C90C-BEFF-4FBB-AADC-FB4AC32ECA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001BC01-1374-4ED9-825F-C525C585EA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74908C9-AD99-47C3-A157-FE7C93333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ext steps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7D191879-5763-401D-8192-6CAC3907BD6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197" y="2241067"/>
            <a:ext cx="4756240" cy="3269058"/>
          </a:xfrm>
        </p:spPr>
      </p:pic>
      <p:sp>
        <p:nvSpPr>
          <p:cNvPr id="13" name="Flowchart: Connector 12">
            <a:extLst>
              <a:ext uri="{FF2B5EF4-FFF2-40B4-BE49-F238E27FC236}">
                <a16:creationId xmlns:a16="http://schemas.microsoft.com/office/drawing/2014/main" id="{70607102-559B-4053-8587-5A8BB2EA0D85}"/>
              </a:ext>
            </a:extLst>
          </p:cNvPr>
          <p:cNvSpPr/>
          <p:nvPr/>
        </p:nvSpPr>
        <p:spPr>
          <a:xfrm>
            <a:off x="2243403" y="3035029"/>
            <a:ext cx="840567" cy="840567"/>
          </a:xfrm>
          <a:prstGeom prst="flowChartConnector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9A852535-DE14-4D31-81B4-5AD3D7163E37}"/>
              </a:ext>
            </a:extLst>
          </p:cNvPr>
          <p:cNvSpPr/>
          <p:nvPr/>
        </p:nvSpPr>
        <p:spPr>
          <a:xfrm>
            <a:off x="3678539" y="2549630"/>
            <a:ext cx="1756910" cy="1741759"/>
          </a:xfrm>
          <a:custGeom>
            <a:avLst/>
            <a:gdLst>
              <a:gd name="connsiteX0" fmla="*/ 226711 w 1756910"/>
              <a:gd name="connsiteY0" fmla="*/ 557601 h 1741759"/>
              <a:gd name="connsiteX1" fmla="*/ 156861 w 1756910"/>
              <a:gd name="connsiteY1" fmla="*/ 732226 h 1741759"/>
              <a:gd name="connsiteX2" fmla="*/ 58436 w 1756910"/>
              <a:gd name="connsiteY2" fmla="*/ 833826 h 1741759"/>
              <a:gd name="connsiteX3" fmla="*/ 1286 w 1756910"/>
              <a:gd name="connsiteY3" fmla="*/ 1179901 h 1741759"/>
              <a:gd name="connsiteX4" fmla="*/ 112411 w 1756910"/>
              <a:gd name="connsiteY4" fmla="*/ 1265626 h 1741759"/>
              <a:gd name="connsiteX5" fmla="*/ 210836 w 1756910"/>
              <a:gd name="connsiteY5" fmla="*/ 1357701 h 1741759"/>
              <a:gd name="connsiteX6" fmla="*/ 242586 w 1756910"/>
              <a:gd name="connsiteY6" fmla="*/ 1452951 h 1741759"/>
              <a:gd name="connsiteX7" fmla="*/ 261636 w 1756910"/>
              <a:gd name="connsiteY7" fmla="*/ 1605351 h 1741759"/>
              <a:gd name="connsiteX8" fmla="*/ 318786 w 1756910"/>
              <a:gd name="connsiteY8" fmla="*/ 1729176 h 1741759"/>
              <a:gd name="connsiteX9" fmla="*/ 414036 w 1756910"/>
              <a:gd name="connsiteY9" fmla="*/ 1719651 h 1741759"/>
              <a:gd name="connsiteX10" fmla="*/ 436261 w 1756910"/>
              <a:gd name="connsiteY10" fmla="*/ 1570426 h 1741759"/>
              <a:gd name="connsiteX11" fmla="*/ 525161 w 1756910"/>
              <a:gd name="connsiteY11" fmla="*/ 1427551 h 1741759"/>
              <a:gd name="connsiteX12" fmla="*/ 620411 w 1756910"/>
              <a:gd name="connsiteY12" fmla="*/ 1341826 h 1741759"/>
              <a:gd name="connsiteX13" fmla="*/ 766461 w 1756910"/>
              <a:gd name="connsiteY13" fmla="*/ 1291026 h 1741759"/>
              <a:gd name="connsiteX14" fmla="*/ 896636 w 1756910"/>
              <a:gd name="connsiteY14" fmla="*/ 1278326 h 1741759"/>
              <a:gd name="connsiteX15" fmla="*/ 1093486 w 1756910"/>
              <a:gd name="connsiteY15" fmla="*/ 1316426 h 1741759"/>
              <a:gd name="connsiteX16" fmla="*/ 1188736 w 1756910"/>
              <a:gd name="connsiteY16" fmla="*/ 1345001 h 1741759"/>
              <a:gd name="connsiteX17" fmla="*/ 1325261 w 1756910"/>
              <a:gd name="connsiteY17" fmla="*/ 1214826 h 1741759"/>
              <a:gd name="connsiteX18" fmla="*/ 1480836 w 1756910"/>
              <a:gd name="connsiteY18" fmla="*/ 1164026 h 1741759"/>
              <a:gd name="connsiteX19" fmla="*/ 1582436 w 1756910"/>
              <a:gd name="connsiteY19" fmla="*/ 1154501 h 1741759"/>
              <a:gd name="connsiteX20" fmla="*/ 1718961 w 1756910"/>
              <a:gd name="connsiteY20" fmla="*/ 246451 h 1741759"/>
              <a:gd name="connsiteX21" fmla="*/ 829961 w 1756910"/>
              <a:gd name="connsiteY21" fmla="*/ 1976 h 1741759"/>
              <a:gd name="connsiteX22" fmla="*/ 353711 w 1756910"/>
              <a:gd name="connsiteY22" fmla="*/ 335351 h 1741759"/>
              <a:gd name="connsiteX23" fmla="*/ 175911 w 1756910"/>
              <a:gd name="connsiteY23" fmla="*/ 706826 h 1741759"/>
              <a:gd name="connsiteX24" fmla="*/ 55261 w 1756910"/>
              <a:gd name="connsiteY24" fmla="*/ 817951 h 1741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756910" h="1741759">
                <a:moveTo>
                  <a:pt x="226711" y="557601"/>
                </a:moveTo>
                <a:cubicBezTo>
                  <a:pt x="205809" y="621894"/>
                  <a:pt x="184907" y="686188"/>
                  <a:pt x="156861" y="732226"/>
                </a:cubicBezTo>
                <a:cubicBezTo>
                  <a:pt x="128815" y="778264"/>
                  <a:pt x="84365" y="759214"/>
                  <a:pt x="58436" y="833826"/>
                </a:cubicBezTo>
                <a:cubicBezTo>
                  <a:pt x="32507" y="908438"/>
                  <a:pt x="-7710" y="1107934"/>
                  <a:pt x="1286" y="1179901"/>
                </a:cubicBezTo>
                <a:cubicBezTo>
                  <a:pt x="10282" y="1251868"/>
                  <a:pt x="77486" y="1235993"/>
                  <a:pt x="112411" y="1265626"/>
                </a:cubicBezTo>
                <a:cubicBezTo>
                  <a:pt x="147336" y="1295259"/>
                  <a:pt x="189140" y="1326480"/>
                  <a:pt x="210836" y="1357701"/>
                </a:cubicBezTo>
                <a:cubicBezTo>
                  <a:pt x="232532" y="1388922"/>
                  <a:pt x="234119" y="1411676"/>
                  <a:pt x="242586" y="1452951"/>
                </a:cubicBezTo>
                <a:cubicBezTo>
                  <a:pt x="251053" y="1494226"/>
                  <a:pt x="248936" y="1559314"/>
                  <a:pt x="261636" y="1605351"/>
                </a:cubicBezTo>
                <a:cubicBezTo>
                  <a:pt x="274336" y="1651388"/>
                  <a:pt x="293386" y="1710126"/>
                  <a:pt x="318786" y="1729176"/>
                </a:cubicBezTo>
                <a:cubicBezTo>
                  <a:pt x="344186" y="1748226"/>
                  <a:pt x="394457" y="1746109"/>
                  <a:pt x="414036" y="1719651"/>
                </a:cubicBezTo>
                <a:cubicBezTo>
                  <a:pt x="433615" y="1693193"/>
                  <a:pt x="417740" y="1619109"/>
                  <a:pt x="436261" y="1570426"/>
                </a:cubicBezTo>
                <a:cubicBezTo>
                  <a:pt x="454782" y="1521743"/>
                  <a:pt x="494469" y="1465651"/>
                  <a:pt x="525161" y="1427551"/>
                </a:cubicBezTo>
                <a:cubicBezTo>
                  <a:pt x="555853" y="1389451"/>
                  <a:pt x="580194" y="1364580"/>
                  <a:pt x="620411" y="1341826"/>
                </a:cubicBezTo>
                <a:cubicBezTo>
                  <a:pt x="660628" y="1319072"/>
                  <a:pt x="720424" y="1301609"/>
                  <a:pt x="766461" y="1291026"/>
                </a:cubicBezTo>
                <a:cubicBezTo>
                  <a:pt x="812498" y="1280443"/>
                  <a:pt x="842132" y="1274093"/>
                  <a:pt x="896636" y="1278326"/>
                </a:cubicBezTo>
                <a:cubicBezTo>
                  <a:pt x="951140" y="1282559"/>
                  <a:pt x="1044803" y="1305314"/>
                  <a:pt x="1093486" y="1316426"/>
                </a:cubicBezTo>
                <a:cubicBezTo>
                  <a:pt x="1142169" y="1327538"/>
                  <a:pt x="1150107" y="1361934"/>
                  <a:pt x="1188736" y="1345001"/>
                </a:cubicBezTo>
                <a:cubicBezTo>
                  <a:pt x="1227365" y="1328068"/>
                  <a:pt x="1276578" y="1244988"/>
                  <a:pt x="1325261" y="1214826"/>
                </a:cubicBezTo>
                <a:cubicBezTo>
                  <a:pt x="1373944" y="1184664"/>
                  <a:pt x="1437974" y="1174080"/>
                  <a:pt x="1480836" y="1164026"/>
                </a:cubicBezTo>
                <a:cubicBezTo>
                  <a:pt x="1523699" y="1153972"/>
                  <a:pt x="1542749" y="1307430"/>
                  <a:pt x="1582436" y="1154501"/>
                </a:cubicBezTo>
                <a:cubicBezTo>
                  <a:pt x="1622124" y="1001572"/>
                  <a:pt x="1844374" y="438538"/>
                  <a:pt x="1718961" y="246451"/>
                </a:cubicBezTo>
                <a:cubicBezTo>
                  <a:pt x="1593549" y="54363"/>
                  <a:pt x="1057503" y="-12841"/>
                  <a:pt x="829961" y="1976"/>
                </a:cubicBezTo>
                <a:cubicBezTo>
                  <a:pt x="602419" y="16793"/>
                  <a:pt x="462719" y="217876"/>
                  <a:pt x="353711" y="335351"/>
                </a:cubicBezTo>
                <a:cubicBezTo>
                  <a:pt x="244703" y="452826"/>
                  <a:pt x="225653" y="626393"/>
                  <a:pt x="175911" y="706826"/>
                </a:cubicBezTo>
                <a:cubicBezTo>
                  <a:pt x="126169" y="787259"/>
                  <a:pt x="65844" y="796784"/>
                  <a:pt x="55261" y="817951"/>
                </a:cubicBezTo>
              </a:path>
            </a:pathLst>
          </a:cu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25C73FE4-83C6-4C41-A1C1-F2A6AA50800E}"/>
              </a:ext>
            </a:extLst>
          </p:cNvPr>
          <p:cNvSpPr txBox="1">
            <a:spLocks/>
          </p:cNvSpPr>
          <p:nvPr/>
        </p:nvSpPr>
        <p:spPr>
          <a:xfrm>
            <a:off x="6288564" y="2360533"/>
            <a:ext cx="5065235" cy="41323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Explore the area of East York more in detail before deciding where to exactly open up your gym </a:t>
            </a:r>
          </a:p>
        </p:txBody>
      </p:sp>
    </p:spTree>
    <p:extLst>
      <p:ext uri="{BB962C8B-B14F-4D97-AF65-F5344CB8AC3E}">
        <p14:creationId xmlns:p14="http://schemas.microsoft.com/office/powerpoint/2010/main" val="1550387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7Mtz4GrXlruGE3ZHqh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7Mtz4GrXlruGE3ZHqhY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r6g7oXXU_rySsWoEMb4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7Mtz4GrXlruGE3ZHqh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7Mtz4GrXlruGE3ZHqhY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79F8D1D2815574EA63D12D99AD70927" ma:contentTypeVersion="13" ma:contentTypeDescription="Create a new document." ma:contentTypeScope="" ma:versionID="ed290a5feda6258cd0549a8d2a6f619d">
  <xsd:schema xmlns:xsd="http://www.w3.org/2001/XMLSchema" xmlns:xs="http://www.w3.org/2001/XMLSchema" xmlns:p="http://schemas.microsoft.com/office/2006/metadata/properties" xmlns:ns3="d1616179-18d7-4f81-9c1c-f6760ece0e40" xmlns:ns4="d66cf995-1928-40c4-859c-a3a9bba6207d" targetNamespace="http://schemas.microsoft.com/office/2006/metadata/properties" ma:root="true" ma:fieldsID="aa76bd06263cf5a6ffab382fd4081089" ns3:_="" ns4:_="">
    <xsd:import namespace="d1616179-18d7-4f81-9c1c-f6760ece0e40"/>
    <xsd:import namespace="d66cf995-1928-40c4-859c-a3a9bba6207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616179-18d7-4f81-9c1c-f6760ece0e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6cf995-1928-40c4-859c-a3a9bba6207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4810BE8-D0D8-438A-BE63-D7D71BE36E4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1616179-18d7-4f81-9c1c-f6760ece0e40"/>
    <ds:schemaRef ds:uri="d66cf995-1928-40c4-859c-a3a9bba6207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54A9975-2331-41F4-B295-87E4D32AE13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03801A6-2C6F-44EA-B308-52B9D7FC02B3}">
  <ds:schemaRefs>
    <ds:schemaRef ds:uri="http://schemas.microsoft.com/office/2006/metadata/properties"/>
    <ds:schemaRef ds:uri="d66cf995-1928-40c4-859c-a3a9bba6207d"/>
    <ds:schemaRef ds:uri="http://purl.org/dc/terms/"/>
    <ds:schemaRef ds:uri="http://schemas.microsoft.com/office/infopath/2007/PartnerControls"/>
    <ds:schemaRef ds:uri="http://purl.org/dc/dcmitype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1616179-18d7-4f81-9c1c-f6760ece0e40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</TotalTime>
  <Words>182</Words>
  <Application>Microsoft Office PowerPoint</Application>
  <PresentationFormat>Widescreen</PresentationFormat>
  <Paragraphs>20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libri</vt:lpstr>
      <vt:lpstr>Calibri Light</vt:lpstr>
      <vt:lpstr>Office Theme</vt:lpstr>
      <vt:lpstr>think-cell Slide</vt:lpstr>
      <vt:lpstr>Introduction</vt:lpstr>
      <vt:lpstr>Considerations</vt:lpstr>
      <vt:lpstr>Data used </vt:lpstr>
      <vt:lpstr>Results</vt:lpstr>
      <vt:lpstr>Conclusion</vt:lpstr>
      <vt:lpstr>Next ste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ulch, Florian</dc:creator>
  <cp:lastModifiedBy>Pulch, Florian</cp:lastModifiedBy>
  <cp:revision>1</cp:revision>
  <dcterms:created xsi:type="dcterms:W3CDTF">2020-04-10T14:56:49Z</dcterms:created>
  <dcterms:modified xsi:type="dcterms:W3CDTF">2020-04-10T15:12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9F8D1D2815574EA63D12D99AD70927</vt:lpwstr>
  </property>
</Properties>
</file>